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16" r:id="rId4"/>
    <p:sldMasterId id="2147483732" r:id="rId5"/>
    <p:sldMasterId id="2147483739" r:id="rId6"/>
    <p:sldMasterId id="2147483746" r:id="rId7"/>
  </p:sldMasterIdLst>
  <p:notesMasterIdLst>
    <p:notesMasterId r:id="rId11"/>
  </p:notesMasterIdLst>
  <p:handoutMasterIdLst>
    <p:handoutMasterId r:id="rId12"/>
  </p:handoutMasterIdLst>
  <p:sldIdLst>
    <p:sldId id="867" r:id="rId8"/>
    <p:sldId id="909" r:id="rId9"/>
    <p:sldId id="926" r:id="rId10"/>
  </p:sldIdLst>
  <p:sldSz cx="9144000" cy="6858000" type="screen4x3"/>
  <p:notesSz cx="7010400" cy="9296400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EFE0C89-55FF-4E8A-9201-38B64731DEC6}">
          <p14:sldIdLst>
            <p14:sldId id="867"/>
            <p14:sldId id="909"/>
            <p14:sldId id="926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4817"/>
    <a:srgbClr val="6699FF"/>
    <a:srgbClr val="00CCFF"/>
    <a:srgbClr val="66FF66"/>
    <a:srgbClr val="9966FF"/>
    <a:srgbClr val="9999FF"/>
    <a:srgbClr val="CCCC00"/>
    <a:srgbClr val="B2B2B2"/>
    <a:srgbClr val="FFFFFF"/>
    <a:srgbClr val="7782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143" autoAdjust="0"/>
    <p:restoredTop sz="89747" autoAdjust="0"/>
  </p:normalViewPr>
  <p:slideViewPr>
    <p:cSldViewPr snapToObjects="1" showGuides="1">
      <p:cViewPr>
        <p:scale>
          <a:sx n="100" d="100"/>
          <a:sy n="100" d="100"/>
        </p:scale>
        <p:origin x="-1512" y="222"/>
      </p:cViewPr>
      <p:guideLst>
        <p:guide orient="horz" pos="3022"/>
        <p:guide orient="horz" pos="1344"/>
        <p:guide orient="horz" pos="3997"/>
        <p:guide orient="horz" pos="2931"/>
        <p:guide orient="horz" pos="4247"/>
        <p:guide orient="horz" pos="1548"/>
        <p:guide pos="2880"/>
        <p:guide pos="4876"/>
        <p:guide/>
        <p:guide pos="5759"/>
        <p:guide pos="5602"/>
        <p:guide pos="2653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Objects="1" showGuides="1">
      <p:cViewPr varScale="1">
        <p:scale>
          <a:sx n="63" d="100"/>
          <a:sy n="63" d="100"/>
        </p:scale>
        <p:origin x="-1866" y="-120"/>
      </p:cViewPr>
      <p:guideLst>
        <p:guide orient="horz" pos="2928"/>
        <p:guide pos="2208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37840" cy="464820"/>
          </a:xfrm>
          <a:prstGeom prst="rect">
            <a:avLst/>
          </a:prstGeom>
        </p:spPr>
        <p:txBody>
          <a:bodyPr vert="horz" lIns="91723" tIns="45862" rIns="91723" bIns="458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9" y="1"/>
            <a:ext cx="3037840" cy="464820"/>
          </a:xfrm>
          <a:prstGeom prst="rect">
            <a:avLst/>
          </a:prstGeom>
        </p:spPr>
        <p:txBody>
          <a:bodyPr vert="horz" lIns="91723" tIns="45862" rIns="91723" bIns="45862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/>
              <a:pPr/>
              <a:t>1/6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968"/>
            <a:ext cx="3037840" cy="464820"/>
          </a:xfrm>
          <a:prstGeom prst="rect">
            <a:avLst/>
          </a:prstGeom>
        </p:spPr>
        <p:txBody>
          <a:bodyPr vert="horz" lIns="91723" tIns="45862" rIns="91723" bIns="4586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9" y="8829968"/>
            <a:ext cx="3037840" cy="464820"/>
          </a:xfrm>
          <a:prstGeom prst="rect">
            <a:avLst/>
          </a:prstGeom>
        </p:spPr>
        <p:txBody>
          <a:bodyPr vert="horz" lIns="91723" tIns="45862" rIns="91723" bIns="45862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37840" cy="464820"/>
          </a:xfrm>
          <a:prstGeom prst="rect">
            <a:avLst/>
          </a:prstGeom>
        </p:spPr>
        <p:txBody>
          <a:bodyPr vert="horz" lIns="91723" tIns="45862" rIns="91723" bIns="458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1"/>
            <a:ext cx="3037840" cy="464820"/>
          </a:xfrm>
          <a:prstGeom prst="rect">
            <a:avLst/>
          </a:prstGeom>
        </p:spPr>
        <p:txBody>
          <a:bodyPr vert="horz" lIns="91723" tIns="45862" rIns="91723" bIns="45862" rtlCol="0"/>
          <a:lstStyle>
            <a:lvl1pPr algn="r">
              <a:defRPr sz="1200"/>
            </a:lvl1pPr>
          </a:lstStyle>
          <a:p>
            <a:fld id="{732C4D34-2C19-43C3-91CC-9F2B4AC12977}" type="datetimeFigureOut">
              <a:rPr lang="en-US" smtClean="0"/>
              <a:pPr/>
              <a:t>1/6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23" tIns="45862" rIns="91723" bIns="4586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1"/>
            <a:ext cx="5608320" cy="4183380"/>
          </a:xfrm>
          <a:prstGeom prst="rect">
            <a:avLst/>
          </a:prstGeom>
        </p:spPr>
        <p:txBody>
          <a:bodyPr vert="horz" lIns="91723" tIns="45862" rIns="91723" bIns="45862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968"/>
            <a:ext cx="3037840" cy="464820"/>
          </a:xfrm>
          <a:prstGeom prst="rect">
            <a:avLst/>
          </a:prstGeom>
        </p:spPr>
        <p:txBody>
          <a:bodyPr vert="horz" lIns="91723" tIns="45862" rIns="91723" bIns="4586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8"/>
            <a:ext cx="3037840" cy="464820"/>
          </a:xfrm>
          <a:prstGeom prst="rect">
            <a:avLst/>
          </a:prstGeom>
        </p:spPr>
        <p:txBody>
          <a:bodyPr vert="horz" lIns="91723" tIns="45862" rIns="91723" bIns="45862" rtlCol="0" anchor="b"/>
          <a:lstStyle>
            <a:lvl1pPr algn="r">
              <a:defRPr sz="1200"/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57909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5365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4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7784" y="1448779"/>
            <a:ext cx="3530211" cy="1802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44800" y="6353323"/>
            <a:ext cx="3311525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 smtClean="0"/>
              <a:t>Author(s)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44800" y="5073438"/>
            <a:ext cx="3967917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 smtClean="0"/>
              <a:t>Date here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44800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 dirty="0" smtClean="0"/>
              <a:t>Report type here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44800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547872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4800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ation subtitle or client name here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9144000" cy="620688"/>
          </a:xfrm>
          <a:prstGeom prst="rect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6135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Headline of maximum two lin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7163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Divider subsections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Divider 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5669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/>
        </p:nvPicPr>
        <p:blipFill>
          <a:blip r:embed="rId3" cstate="print"/>
          <a:srcRect l="399"/>
          <a:stretch>
            <a:fillRect/>
          </a:stretch>
        </p:blipFill>
        <p:spPr>
          <a:xfrm>
            <a:off x="0" y="4631436"/>
            <a:ext cx="9107488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20292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8515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9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499" y="1435520"/>
            <a:ext cx="3530211" cy="1802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44800" y="6353323"/>
            <a:ext cx="3311525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 smtClean="0"/>
              <a:t>Author(s)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44800" y="5073438"/>
            <a:ext cx="3967917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 smtClean="0"/>
              <a:t>Date here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44800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 dirty="0" smtClean="0"/>
              <a:t>Report type here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44800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547872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4800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ation subtitle or client name here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9144000" cy="620688"/>
          </a:xfrm>
          <a:prstGeom prst="rect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635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4800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3186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Headline of maximum two lines he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Text on first level her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0035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Headline of maximum two lin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48845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Divider subsections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Divider 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899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/>
        </p:nvPicPr>
        <p:blipFill>
          <a:blip r:embed="rId3" cstate="print"/>
          <a:srcRect l="399"/>
          <a:stretch>
            <a:fillRect/>
          </a:stretch>
        </p:blipFill>
        <p:spPr>
          <a:xfrm>
            <a:off x="0" y="4631436"/>
            <a:ext cx="9107488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3291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1932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4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499" y="1435520"/>
            <a:ext cx="3530211" cy="1802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44800" y="6353323"/>
            <a:ext cx="3311525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 smtClean="0"/>
              <a:t>Author(s)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44800" y="5073438"/>
            <a:ext cx="3967917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 smtClean="0"/>
              <a:t>Date here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44800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 dirty="0" smtClean="0"/>
              <a:t>Report type here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44800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547872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4800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ation subtitle or client name here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9144000" cy="620688"/>
          </a:xfrm>
          <a:prstGeom prst="rect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9107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4800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2853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4800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9689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Headline of maximum two lines he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Text on first level her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6660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Headline of maximum two lin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331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Divider subsections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Divider 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0053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/>
        </p:nvPicPr>
        <p:blipFill>
          <a:blip r:embed="rId3" cstate="print"/>
          <a:srcRect l="399"/>
          <a:stretch>
            <a:fillRect/>
          </a:stretch>
        </p:blipFill>
        <p:spPr>
          <a:xfrm>
            <a:off x="0" y="4631436"/>
            <a:ext cx="9107488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8179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ftr" sz="quarter" idx="10"/>
          </p:nvPr>
        </p:nvSpPr>
        <p:spPr>
          <a:xfrm>
            <a:off x="2362200" y="6537325"/>
            <a:ext cx="4572000" cy="24447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15F7B"/>
                </a:solidFill>
              </a:defRPr>
            </a:lvl1pPr>
          </a:lstStyle>
          <a:p>
            <a:pPr>
              <a:defRPr/>
            </a:pPr>
            <a:r>
              <a:rPr lang="en-US"/>
              <a:t>Project Status Report</a:t>
            </a:r>
          </a:p>
        </p:txBody>
      </p:sp>
    </p:spTree>
    <p:extLst>
      <p:ext uri="{BB962C8B-B14F-4D97-AF65-F5344CB8AC3E}">
        <p14:creationId xmlns:p14="http://schemas.microsoft.com/office/powerpoint/2010/main" val="41126387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Headline of maximum two lines he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Text on first level her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565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Headline of maximum two lin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887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Divider subsections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Divider 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7738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/>
        </p:nvPicPr>
        <p:blipFill>
          <a:blip r:embed="rId3" cstate="print"/>
          <a:srcRect l="399"/>
          <a:stretch>
            <a:fillRect/>
          </a:stretch>
        </p:blipFill>
        <p:spPr>
          <a:xfrm>
            <a:off x="0" y="4631436"/>
            <a:ext cx="9107488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3117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26819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499" y="1435520"/>
            <a:ext cx="3530211" cy="1802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44800" y="6353323"/>
            <a:ext cx="3311525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 smtClean="0"/>
              <a:t>Author(s)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44800" y="5073438"/>
            <a:ext cx="3967917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 smtClean="0"/>
              <a:t>Date here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44800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 dirty="0" smtClean="0"/>
              <a:t>Report type here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44800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547872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4800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ation subtitle or client name here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9144000" cy="620688"/>
          </a:xfrm>
          <a:prstGeom prst="rect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18760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4800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8976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Headline of maximum two lines he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Text on first level her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085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1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3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oleObject" Target="../embeddings/oleObject7.bin"/><Relationship Id="rId5" Type="http://schemas.openxmlformats.org/officeDocument/2006/relationships/slideLayout" Target="../slideLayouts/slideLayout23.xml"/><Relationship Id="rId10" Type="http://schemas.openxmlformats.org/officeDocument/2006/relationships/tags" Target="../tags/tag11.xml"/><Relationship Id="rId4" Type="http://schemas.openxmlformats.org/officeDocument/2006/relationships/slideLayout" Target="../slideLayouts/slideLayout22.xml"/><Relationship Id="rId9" Type="http://schemas.openxmlformats.org/officeDocument/2006/relationships/vmlDrawing" Target="../drawings/vmlDrawing7.v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473295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2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6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415" y="283397"/>
            <a:ext cx="775527" cy="396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4507" y="804672"/>
            <a:ext cx="864108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 smtClean="0"/>
              <a:t>Headline of maximum two lines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4507" y="2057400"/>
            <a:ext cx="864108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Text on first level her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8641893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43508" y="404664"/>
            <a:ext cx="738739" cy="237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5"/>
          <p:cNvCxnSpPr/>
          <p:nvPr/>
        </p:nvCxnSpPr>
        <p:spPr>
          <a:xfrm>
            <a:off x="0" y="296652"/>
            <a:ext cx="9144000" cy="0"/>
          </a:xfrm>
          <a:prstGeom prst="line">
            <a:avLst/>
          </a:prstGeom>
          <a:ln w="12700" cap="flat">
            <a:solidFill>
              <a:srgbClr val="00B0F0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3293858" y="66749"/>
            <a:ext cx="2556284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1400" b="1" dirty="0" smtClean="0">
                <a:latin typeface="Arial 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15460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rgbClr val="8AB1D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rgbClr val="8AB1D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rgbClr val="8AB1D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rgbClr val="8AB1D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rgbClr val="8AB1D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0432683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2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415" y="283397"/>
            <a:ext cx="775527" cy="396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4507" y="804672"/>
            <a:ext cx="864108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 smtClean="0"/>
              <a:t>Headline of maximum two lines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4507" y="2057400"/>
            <a:ext cx="864108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Text on first level her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8641893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43508" y="404664"/>
            <a:ext cx="738739" cy="237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5"/>
          <p:cNvCxnSpPr/>
          <p:nvPr/>
        </p:nvCxnSpPr>
        <p:spPr>
          <a:xfrm>
            <a:off x="0" y="296652"/>
            <a:ext cx="9144000" cy="0"/>
          </a:xfrm>
          <a:prstGeom prst="line">
            <a:avLst/>
          </a:prstGeom>
          <a:ln w="12700" cap="flat">
            <a:solidFill>
              <a:srgbClr val="00B0F0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3293858" y="66749"/>
            <a:ext cx="2556284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85EDFB"/>
              </a:buClr>
            </a:pPr>
            <a:r>
              <a:rPr lang="en-US" sz="1400" b="1" dirty="0" smtClean="0">
                <a:solidFill>
                  <a:srgbClr val="000000"/>
                </a:solidFill>
                <a:latin typeface="Arial 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830523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rgbClr val="8AB1D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rgbClr val="8AB1D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rgbClr val="8AB1D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rgbClr val="8AB1D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rgbClr val="8AB1D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1714861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6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415" y="283397"/>
            <a:ext cx="775527" cy="396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4507" y="804672"/>
            <a:ext cx="864108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 smtClean="0"/>
              <a:t>Headline of maximum two lines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4507" y="2057400"/>
            <a:ext cx="864108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Text on first level her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8641893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43508" y="404664"/>
            <a:ext cx="738739" cy="237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5"/>
          <p:cNvCxnSpPr/>
          <p:nvPr/>
        </p:nvCxnSpPr>
        <p:spPr>
          <a:xfrm>
            <a:off x="0" y="296652"/>
            <a:ext cx="9144000" cy="0"/>
          </a:xfrm>
          <a:prstGeom prst="line">
            <a:avLst/>
          </a:prstGeom>
          <a:ln w="12700" cap="flat">
            <a:solidFill>
              <a:srgbClr val="00B0F0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3293858" y="66749"/>
            <a:ext cx="2556284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85EDFB"/>
              </a:buClr>
            </a:pPr>
            <a:r>
              <a:rPr lang="en-US" sz="1400" b="1" dirty="0" smtClean="0">
                <a:solidFill>
                  <a:srgbClr val="000000"/>
                </a:solidFill>
                <a:latin typeface="Arial 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622480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rgbClr val="8AB1D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rgbClr val="8AB1D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rgbClr val="8AB1D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rgbClr val="8AB1D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rgbClr val="8AB1D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088769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1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415" y="283397"/>
            <a:ext cx="775527" cy="396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4507" y="804672"/>
            <a:ext cx="864108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 smtClean="0"/>
              <a:t>Headline of maximum two lines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4507" y="2057400"/>
            <a:ext cx="864108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Text on first level her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8641893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43508" y="404664"/>
            <a:ext cx="738739" cy="237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5"/>
          <p:cNvCxnSpPr/>
          <p:nvPr/>
        </p:nvCxnSpPr>
        <p:spPr>
          <a:xfrm>
            <a:off x="0" y="296652"/>
            <a:ext cx="9144000" cy="0"/>
          </a:xfrm>
          <a:prstGeom prst="line">
            <a:avLst/>
          </a:prstGeom>
          <a:ln w="12700" cap="flat">
            <a:solidFill>
              <a:srgbClr val="00B0F0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3293858" y="66749"/>
            <a:ext cx="2556284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85EDFB"/>
              </a:buClr>
            </a:pPr>
            <a:r>
              <a:rPr lang="en-US" sz="1400" b="1" dirty="0" smtClean="0">
                <a:solidFill>
                  <a:srgbClr val="000000"/>
                </a:solidFill>
                <a:latin typeface="Arial 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7006932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rgbClr val="8AB1D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rgbClr val="8AB1D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rgbClr val="8AB1D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rgbClr val="8AB1D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rgbClr val="8AB1D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244800" y="3685032"/>
            <a:ext cx="8642350" cy="498598"/>
          </a:xfrm>
        </p:spPr>
        <p:txBody>
          <a:bodyPr/>
          <a:lstStyle/>
          <a:p>
            <a:r>
              <a:rPr lang="en-US" smtClean="0"/>
              <a:t>Use Case Maintenace Proc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256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9512" y="667725"/>
            <a:ext cx="7396188" cy="332399"/>
          </a:xfrm>
        </p:spPr>
        <p:txBody>
          <a:bodyPr/>
          <a:lstStyle/>
          <a:p>
            <a:r>
              <a:rPr lang="en-US" smtClean="0"/>
              <a:t> Current Use Case Flow &amp; Structure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79512" y="1040499"/>
            <a:ext cx="4411725" cy="34252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 smtClean="0">
                <a:latin typeface="Arial" panose="020B0604020202020204" pitchFamily="34" charset="0"/>
                <a:cs typeface="Arial" panose="020B0604020202020204" pitchFamily="34" charset="0"/>
              </a:rPr>
              <a:t>Requirements Phase</a:t>
            </a:r>
            <a:endParaRPr lang="en-A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79512" y="1383020"/>
            <a:ext cx="540000" cy="1080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A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Release 14.1</a:t>
            </a:r>
            <a:endParaRPr lang="en-A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79512" y="2463020"/>
            <a:ext cx="540000" cy="1080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A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Release 15.1</a:t>
            </a:r>
            <a:endParaRPr lang="en-A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79512" y="3543020"/>
            <a:ext cx="540000" cy="1080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A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Release 15.2</a:t>
            </a:r>
            <a:endParaRPr lang="en-A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79512" y="4623020"/>
            <a:ext cx="540000" cy="1080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A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Release 16.1</a:t>
            </a:r>
            <a:endParaRPr lang="en-A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79512" y="5703020"/>
            <a:ext cx="540000" cy="1080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A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Release 16.2</a:t>
            </a:r>
            <a:endParaRPr lang="en-A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lowchart: Process 12"/>
          <p:cNvSpPr/>
          <p:nvPr/>
        </p:nvSpPr>
        <p:spPr>
          <a:xfrm>
            <a:off x="1087398" y="1673092"/>
            <a:ext cx="4699432" cy="499855"/>
          </a:xfrm>
          <a:prstGeom prst="flowChartProcess">
            <a:avLst/>
          </a:prstGeom>
          <a:solidFill>
            <a:srgbClr val="D34817"/>
          </a:solidFill>
          <a:ln>
            <a:solidFill>
              <a:srgbClr val="9B17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  <a:sym typeface="Arial"/>
                <a:rtl val="0"/>
              </a:rPr>
              <a:t>Approved Use Cases</a:t>
            </a:r>
            <a:endParaRPr lang="en-AU" sz="1000" dirty="0">
              <a:latin typeface="Arial" panose="020B0604020202020204" pitchFamily="34" charset="0"/>
              <a:cs typeface="Arial" panose="020B0604020202020204" pitchFamily="34" charset="0"/>
              <a:sym typeface="Arial"/>
              <a:rtl val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591238" y="1040499"/>
            <a:ext cx="4120651" cy="34252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 smtClean="0">
                <a:latin typeface="Arial" panose="020B0604020202020204" pitchFamily="34" charset="0"/>
                <a:cs typeface="Arial" panose="020B0604020202020204" pitchFamily="34" charset="0"/>
              </a:rPr>
              <a:t>Change Requests</a:t>
            </a:r>
            <a:endParaRPr lang="en-A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4591239" y="1225208"/>
            <a:ext cx="0" cy="55578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lowchart: Process 15"/>
          <p:cNvSpPr/>
          <p:nvPr/>
        </p:nvSpPr>
        <p:spPr>
          <a:xfrm>
            <a:off x="1076512" y="2722841"/>
            <a:ext cx="2082589" cy="499855"/>
          </a:xfrm>
          <a:prstGeom prst="flowChartProcess">
            <a:avLst/>
          </a:prstGeom>
          <a:solidFill>
            <a:srgbClr val="D34817"/>
          </a:solidFill>
          <a:ln>
            <a:solidFill>
              <a:srgbClr val="9B17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Baseline Use Cases</a:t>
            </a:r>
            <a:endParaRPr lang="en-AU" sz="1000" dirty="0">
              <a:latin typeface="Arial" panose="020B0604020202020204" pitchFamily="34" charset="0"/>
              <a:cs typeface="Arial" panose="020B0604020202020204" pitchFamily="34" charset="0"/>
              <a:rtl val="0"/>
            </a:endParaRPr>
          </a:p>
        </p:txBody>
      </p:sp>
      <p:sp>
        <p:nvSpPr>
          <p:cNvPr id="17" name="Flowchart: Process 16"/>
          <p:cNvSpPr/>
          <p:nvPr/>
        </p:nvSpPr>
        <p:spPr>
          <a:xfrm>
            <a:off x="1076512" y="3831413"/>
            <a:ext cx="2082589" cy="499855"/>
          </a:xfrm>
          <a:prstGeom prst="flowChartProcess">
            <a:avLst/>
          </a:prstGeom>
          <a:solidFill>
            <a:srgbClr val="D34817"/>
          </a:solidFill>
          <a:ln>
            <a:solidFill>
              <a:srgbClr val="9B17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Baseline Use Cases</a:t>
            </a:r>
            <a:endParaRPr lang="en-AU" sz="1000" dirty="0">
              <a:latin typeface="Arial" panose="020B0604020202020204" pitchFamily="34" charset="0"/>
              <a:cs typeface="Arial" panose="020B0604020202020204" pitchFamily="34" charset="0"/>
              <a:rtl val="0"/>
            </a:endParaRPr>
          </a:p>
        </p:txBody>
      </p:sp>
      <p:sp>
        <p:nvSpPr>
          <p:cNvPr id="18" name="Flowchart: Process 17"/>
          <p:cNvSpPr/>
          <p:nvPr/>
        </p:nvSpPr>
        <p:spPr>
          <a:xfrm>
            <a:off x="1087398" y="4913092"/>
            <a:ext cx="2082589" cy="499855"/>
          </a:xfrm>
          <a:prstGeom prst="flowChartProcess">
            <a:avLst/>
          </a:prstGeom>
          <a:solidFill>
            <a:srgbClr val="D34817"/>
          </a:solidFill>
          <a:ln>
            <a:solidFill>
              <a:srgbClr val="9B17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Baseline Use Cases</a:t>
            </a:r>
            <a:endParaRPr lang="en-AU" sz="1000" dirty="0">
              <a:latin typeface="Arial" panose="020B0604020202020204" pitchFamily="34" charset="0"/>
              <a:cs typeface="Arial" panose="020B0604020202020204" pitchFamily="34" charset="0"/>
              <a:rtl val="0"/>
            </a:endParaRPr>
          </a:p>
        </p:txBody>
      </p:sp>
      <p:sp>
        <p:nvSpPr>
          <p:cNvPr id="19" name="Flowchart: Process 18"/>
          <p:cNvSpPr/>
          <p:nvPr/>
        </p:nvSpPr>
        <p:spPr>
          <a:xfrm>
            <a:off x="1076512" y="5924121"/>
            <a:ext cx="2093475" cy="499855"/>
          </a:xfrm>
          <a:prstGeom prst="flowChartProcess">
            <a:avLst/>
          </a:prstGeom>
          <a:solidFill>
            <a:srgbClr val="D34817"/>
          </a:solidFill>
          <a:ln>
            <a:solidFill>
              <a:srgbClr val="9B17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Baseline Use Cases</a:t>
            </a:r>
            <a:endParaRPr lang="en-AU" sz="1000" dirty="0">
              <a:latin typeface="Arial" panose="020B0604020202020204" pitchFamily="34" charset="0"/>
              <a:cs typeface="Arial" panose="020B0604020202020204" pitchFamily="34" charset="0"/>
              <a:rtl val="0"/>
            </a:endParaRPr>
          </a:p>
        </p:txBody>
      </p:sp>
      <p:cxnSp>
        <p:nvCxnSpPr>
          <p:cNvPr id="20" name="Elbow Connector 19"/>
          <p:cNvCxnSpPr>
            <a:stCxn id="13" idx="2"/>
            <a:endCxn id="16" idx="0"/>
          </p:cNvCxnSpPr>
          <p:nvPr/>
        </p:nvCxnSpPr>
        <p:spPr>
          <a:xfrm rot="5400000">
            <a:off x="2502514" y="1788241"/>
            <a:ext cx="549894" cy="1319307"/>
          </a:xfrm>
          <a:prstGeom prst="bentConnector3">
            <a:avLst>
              <a:gd name="adj1" fmla="val 59898"/>
            </a:avLst>
          </a:prstGeom>
          <a:ln w="19050" cmpd="sng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stCxn id="16" idx="2"/>
            <a:endCxn id="17" idx="0"/>
          </p:cNvCxnSpPr>
          <p:nvPr/>
        </p:nvCxnSpPr>
        <p:spPr>
          <a:xfrm>
            <a:off x="2117807" y="3222696"/>
            <a:ext cx="0" cy="608717"/>
          </a:xfrm>
          <a:prstGeom prst="straightConnector1">
            <a:avLst/>
          </a:prstGeom>
          <a:ln w="19050" cmpd="sng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2128692" y="4332947"/>
            <a:ext cx="0" cy="580145"/>
          </a:xfrm>
          <a:prstGeom prst="straightConnector1">
            <a:avLst/>
          </a:prstGeom>
          <a:ln w="19050" cmpd="sng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179512" y="1383020"/>
            <a:ext cx="54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8711889" y="1040499"/>
            <a:ext cx="0" cy="57425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179512" y="6783020"/>
            <a:ext cx="853237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179512" y="2463019"/>
            <a:ext cx="853237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 flipV="1">
            <a:off x="179512" y="3543019"/>
            <a:ext cx="8532377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179512" y="4623020"/>
            <a:ext cx="853237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179512" y="5685792"/>
            <a:ext cx="853237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Flowchart: Predefined Process 29"/>
          <p:cNvSpPr/>
          <p:nvPr/>
        </p:nvSpPr>
        <p:spPr>
          <a:xfrm>
            <a:off x="3895912" y="2722841"/>
            <a:ext cx="1890918" cy="499854"/>
          </a:xfrm>
          <a:prstGeom prst="flowChartPredefinedProcess">
            <a:avLst/>
          </a:prstGeom>
          <a:solidFill>
            <a:srgbClr val="D34817"/>
          </a:solidFill>
          <a:ln>
            <a:solidFill>
              <a:srgbClr val="9B17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Updated Use Cases in 15.1</a:t>
            </a:r>
            <a:endParaRPr lang="en-AU" sz="1000" dirty="0">
              <a:latin typeface="Arial" panose="020B0604020202020204" pitchFamily="34" charset="0"/>
              <a:cs typeface="Arial" panose="020B0604020202020204" pitchFamily="34" charset="0"/>
              <a:rtl val="0"/>
            </a:endParaRPr>
          </a:p>
        </p:txBody>
      </p:sp>
      <p:cxnSp>
        <p:nvCxnSpPr>
          <p:cNvPr id="31" name="Elbow Connector 30"/>
          <p:cNvCxnSpPr>
            <a:stCxn id="30" idx="2"/>
            <a:endCxn id="17" idx="0"/>
          </p:cNvCxnSpPr>
          <p:nvPr/>
        </p:nvCxnSpPr>
        <p:spPr>
          <a:xfrm rot="5400000">
            <a:off x="3175230" y="2165272"/>
            <a:ext cx="608718" cy="2723564"/>
          </a:xfrm>
          <a:prstGeom prst="bentConnector3">
            <a:avLst>
              <a:gd name="adj1" fmla="val 67883"/>
            </a:avLst>
          </a:prstGeom>
          <a:ln w="19050" cmpd="sng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>
            <a:stCxn id="16" idx="3"/>
            <a:endCxn id="30" idx="1"/>
          </p:cNvCxnSpPr>
          <p:nvPr/>
        </p:nvCxnSpPr>
        <p:spPr>
          <a:xfrm flipV="1">
            <a:off x="3159101" y="2972768"/>
            <a:ext cx="736811" cy="1"/>
          </a:xfrm>
          <a:prstGeom prst="straightConnector1">
            <a:avLst/>
          </a:prstGeom>
          <a:ln w="19050" cmpd="sng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lowchart: Predefined Process 32"/>
          <p:cNvSpPr/>
          <p:nvPr/>
        </p:nvSpPr>
        <p:spPr>
          <a:xfrm>
            <a:off x="3895912" y="3831413"/>
            <a:ext cx="1890918" cy="499854"/>
          </a:xfrm>
          <a:prstGeom prst="flowChartPredefinedProcess">
            <a:avLst/>
          </a:prstGeom>
          <a:solidFill>
            <a:srgbClr val="D34817"/>
          </a:solidFill>
          <a:ln>
            <a:solidFill>
              <a:srgbClr val="9B17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Updated Use Cases in 15.2</a:t>
            </a:r>
            <a:endParaRPr lang="en-AU" sz="1000" dirty="0">
              <a:latin typeface="Arial" panose="020B0604020202020204" pitchFamily="34" charset="0"/>
              <a:cs typeface="Arial" panose="020B0604020202020204" pitchFamily="34" charset="0"/>
              <a:rtl val="0"/>
            </a:endParaRPr>
          </a:p>
        </p:txBody>
      </p:sp>
      <p:cxnSp>
        <p:nvCxnSpPr>
          <p:cNvPr id="34" name="Straight Arrow Connector 33"/>
          <p:cNvCxnSpPr>
            <a:stCxn id="17" idx="3"/>
            <a:endCxn id="33" idx="1"/>
          </p:cNvCxnSpPr>
          <p:nvPr/>
        </p:nvCxnSpPr>
        <p:spPr>
          <a:xfrm flipV="1">
            <a:off x="3159101" y="4081340"/>
            <a:ext cx="736811" cy="1"/>
          </a:xfrm>
          <a:prstGeom prst="straightConnector1">
            <a:avLst/>
          </a:prstGeom>
          <a:ln w="19050" cmpd="sng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stCxn id="18" idx="2"/>
            <a:endCxn id="19" idx="0"/>
          </p:cNvCxnSpPr>
          <p:nvPr/>
        </p:nvCxnSpPr>
        <p:spPr>
          <a:xfrm flipH="1">
            <a:off x="2123250" y="5412947"/>
            <a:ext cx="5443" cy="511174"/>
          </a:xfrm>
          <a:prstGeom prst="straightConnector1">
            <a:avLst/>
          </a:prstGeom>
          <a:ln w="19050" cmpd="sng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Flowchart: Predefined Process 35"/>
          <p:cNvSpPr/>
          <p:nvPr/>
        </p:nvSpPr>
        <p:spPr>
          <a:xfrm>
            <a:off x="3895912" y="4913092"/>
            <a:ext cx="1890918" cy="499854"/>
          </a:xfrm>
          <a:prstGeom prst="flowChartPredefinedProcess">
            <a:avLst/>
          </a:prstGeom>
          <a:solidFill>
            <a:srgbClr val="D34817"/>
          </a:solidFill>
          <a:ln>
            <a:solidFill>
              <a:srgbClr val="9B17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Updated Use Cases in 16.1</a:t>
            </a:r>
            <a:endParaRPr lang="en-AU" sz="1000" dirty="0">
              <a:latin typeface="Arial" panose="020B0604020202020204" pitchFamily="34" charset="0"/>
              <a:cs typeface="Arial" panose="020B0604020202020204" pitchFamily="34" charset="0"/>
              <a:rtl val="0"/>
            </a:endParaRPr>
          </a:p>
        </p:txBody>
      </p:sp>
      <p:sp>
        <p:nvSpPr>
          <p:cNvPr id="37" name="Flowchart: Predefined Process 36"/>
          <p:cNvSpPr/>
          <p:nvPr/>
        </p:nvSpPr>
        <p:spPr>
          <a:xfrm>
            <a:off x="3895912" y="5924122"/>
            <a:ext cx="1890918" cy="499854"/>
          </a:xfrm>
          <a:prstGeom prst="flowChartPredefinedProcess">
            <a:avLst/>
          </a:prstGeom>
          <a:solidFill>
            <a:srgbClr val="D34817"/>
          </a:solidFill>
          <a:ln>
            <a:solidFill>
              <a:srgbClr val="9B17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Updated Use Cases in 16.2</a:t>
            </a:r>
            <a:endParaRPr lang="en-AU" sz="1000" dirty="0">
              <a:latin typeface="Arial" panose="020B0604020202020204" pitchFamily="34" charset="0"/>
              <a:cs typeface="Arial" panose="020B0604020202020204" pitchFamily="34" charset="0"/>
              <a:rtl val="0"/>
            </a:endParaRPr>
          </a:p>
        </p:txBody>
      </p:sp>
      <p:cxnSp>
        <p:nvCxnSpPr>
          <p:cNvPr id="38" name="Straight Arrow Connector 37"/>
          <p:cNvCxnSpPr>
            <a:stCxn id="18" idx="3"/>
            <a:endCxn id="36" idx="1"/>
          </p:cNvCxnSpPr>
          <p:nvPr/>
        </p:nvCxnSpPr>
        <p:spPr>
          <a:xfrm flipV="1">
            <a:off x="3169987" y="5163019"/>
            <a:ext cx="725925" cy="1"/>
          </a:xfrm>
          <a:prstGeom prst="straightConnector1">
            <a:avLst/>
          </a:prstGeom>
          <a:ln w="19050" cmpd="sng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stCxn id="19" idx="3"/>
            <a:endCxn id="37" idx="1"/>
          </p:cNvCxnSpPr>
          <p:nvPr/>
        </p:nvCxnSpPr>
        <p:spPr>
          <a:xfrm>
            <a:off x="3169987" y="6174049"/>
            <a:ext cx="725925" cy="0"/>
          </a:xfrm>
          <a:prstGeom prst="straightConnector1">
            <a:avLst/>
          </a:prstGeom>
          <a:ln w="19050" cmpd="sng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Elbow Connector 39"/>
          <p:cNvCxnSpPr>
            <a:stCxn id="33" idx="2"/>
            <a:endCxn id="18" idx="0"/>
          </p:cNvCxnSpPr>
          <p:nvPr/>
        </p:nvCxnSpPr>
        <p:spPr>
          <a:xfrm rot="5400000">
            <a:off x="3194120" y="3265840"/>
            <a:ext cx="581825" cy="2712678"/>
          </a:xfrm>
          <a:prstGeom prst="bentConnector3">
            <a:avLst>
              <a:gd name="adj1" fmla="val 66839"/>
            </a:avLst>
          </a:prstGeom>
          <a:ln w="19050" cmpd="sng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Elbow Connector 40"/>
          <p:cNvCxnSpPr>
            <a:stCxn id="36" idx="2"/>
            <a:endCxn id="19" idx="0"/>
          </p:cNvCxnSpPr>
          <p:nvPr/>
        </p:nvCxnSpPr>
        <p:spPr>
          <a:xfrm rot="5400000">
            <a:off x="3226724" y="4309473"/>
            <a:ext cx="511175" cy="2718121"/>
          </a:xfrm>
          <a:prstGeom prst="bentConnector3">
            <a:avLst>
              <a:gd name="adj1" fmla="val 71296"/>
            </a:avLst>
          </a:prstGeom>
          <a:ln w="19050" cmpd="sng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ight Brace 41"/>
          <p:cNvSpPr/>
          <p:nvPr/>
        </p:nvSpPr>
        <p:spPr>
          <a:xfrm>
            <a:off x="5786830" y="4004114"/>
            <a:ext cx="547482" cy="115890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ight Brace 42"/>
          <p:cNvSpPr/>
          <p:nvPr/>
        </p:nvSpPr>
        <p:spPr>
          <a:xfrm>
            <a:off x="5786830" y="5163020"/>
            <a:ext cx="471282" cy="1080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Box 43"/>
          <p:cNvSpPr txBox="1"/>
          <p:nvPr/>
        </p:nvSpPr>
        <p:spPr>
          <a:xfrm>
            <a:off x="6684220" y="4418320"/>
            <a:ext cx="189254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000" b="1" dirty="0" smtClean="0">
                <a:solidFill>
                  <a:srgbClr val="FF0000"/>
                </a:solidFill>
              </a:rPr>
              <a:t>CR Logged in one release is evaluated for other parallel running releases and changes updates in other release use cases accordingly.</a:t>
            </a:r>
            <a:endParaRPr lang="en-US" sz="1000" b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91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  Descrip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2480" y="1391161"/>
            <a:ext cx="8640000" cy="4198079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mtClean="0"/>
              <a:t>Each release has separate use case folder structure where all approved and draft use cases are kept.</a:t>
            </a:r>
            <a:endParaRPr lang="en-US" dirty="0" smtClean="0"/>
          </a:p>
          <a:p>
            <a:pPr algn="just">
              <a:lnSpc>
                <a:spcPct val="150000"/>
              </a:lnSpc>
            </a:pPr>
            <a:r>
              <a:rPr lang="en-US" smtClean="0"/>
              <a:t>All approved and baseline use cases from previous release are kept in baseline use case folder of new release.</a:t>
            </a:r>
            <a:endParaRPr lang="en-US" dirty="0" smtClean="0"/>
          </a:p>
          <a:p>
            <a:pPr algn="just">
              <a:lnSpc>
                <a:spcPct val="150000"/>
              </a:lnSpc>
            </a:pPr>
            <a:r>
              <a:rPr lang="en-US" smtClean="0"/>
              <a:t>Applicable use cases are updated from baseline folder and kept in use case folder for new release.</a:t>
            </a:r>
            <a:endParaRPr lang="en-US" dirty="0" smtClean="0"/>
          </a:p>
          <a:p>
            <a:pPr algn="just">
              <a:lnSpc>
                <a:spcPct val="150000"/>
              </a:lnSpc>
            </a:pPr>
            <a:r>
              <a:rPr lang="en-CA" dirty="0" smtClean="0"/>
              <a:t>If multiple releases are running in parallel, CR logged in one release is evaluated for all running releases.</a:t>
            </a:r>
          </a:p>
          <a:p>
            <a:pPr algn="just">
              <a:lnSpc>
                <a:spcPct val="150000"/>
              </a:lnSpc>
            </a:pPr>
            <a:r>
              <a:rPr lang="en-CA" dirty="0" smtClean="0"/>
              <a:t>After required evaluation, change is updated in each release use case.</a:t>
            </a:r>
            <a:endParaRPr lang="en-CA" dirty="0" smtClean="0"/>
          </a:p>
          <a:p>
            <a:pPr algn="just">
              <a:lnSpc>
                <a:spcPct val="150000"/>
              </a:lnSpc>
            </a:pP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79512" y="5661248"/>
            <a:ext cx="8568952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CA" sz="1400" dirty="0" smtClean="0">
                <a:latin typeface="Arial "/>
              </a:rPr>
              <a:t>    </a:t>
            </a:r>
            <a:endParaRPr lang="en-US" sz="1400" i="1" dirty="0" err="1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197514" y="5685395"/>
            <a:ext cx="8766974" cy="684076"/>
          </a:xfrm>
          <a:prstGeom prst="rect">
            <a:avLst/>
          </a:prstGeom>
          <a:solidFill>
            <a:srgbClr val="00206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CA" sz="1200" b="1" dirty="0" smtClean="0">
                <a:cs typeface="Times New Roman" pitchFamily="18" charset="0"/>
              </a:rPr>
              <a:t>    </a:t>
            </a:r>
            <a:r>
              <a:rPr lang="en-CA" sz="1200" b="1" u="sng" dirty="0" smtClean="0">
                <a:cs typeface="Times New Roman" pitchFamily="18" charset="0"/>
              </a:rPr>
              <a:t>Next </a:t>
            </a:r>
            <a:r>
              <a:rPr lang="en-CA" sz="1200" b="1" u="sng" dirty="0">
                <a:cs typeface="Times New Roman" pitchFamily="18" charset="0"/>
              </a:rPr>
              <a:t>Steps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CA" sz="1200" dirty="0">
                <a:cs typeface="Times New Roman" pitchFamily="18" charset="0"/>
              </a:rPr>
              <a:t>    Some version control tool would be required to manage the use case requirements in multiple </a:t>
            </a:r>
            <a:r>
              <a:rPr lang="en-CA" sz="1200" dirty="0" smtClean="0">
                <a:cs typeface="Times New Roman" pitchFamily="18" charset="0"/>
              </a:rPr>
              <a:t>releases </a:t>
            </a:r>
            <a:r>
              <a:rPr lang="en-CA" sz="1200" dirty="0">
                <a:cs typeface="Times New Roman" pitchFamily="18" charset="0"/>
              </a:rPr>
              <a:t>at  one time.  </a:t>
            </a:r>
            <a:endParaRPr lang="en-US" sz="1200" dirty="0" err="1"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29&quot;/&gt;&lt;CPresentation id=&quot;1&quot;&gt;&lt;m_precDefaultNumber/&gt;&lt;m_precDefaultPercent/&gt;&lt;m_precDefaultDate&gt;&lt;m_strFormatTime&gt;%#m/%#d/%y&lt;/m_strFormatTime&gt;&lt;/m_precDefaultDate&gt;&lt;m_precDefaultYear&gt;&lt;m_strFormatTime&gt;%Y&lt;/m_strFormatTime&gt;&lt;/m_precDefaultYear&gt;&lt;m_precDefaultQuarter&gt;&lt;m_strFormatTime&gt;Q%5&lt;/m_strFormatTime&gt;&lt;/m_precDefaultQuarter&gt;&lt;m_precDefaultMonth&gt;&lt;m_strFormatTime&gt;%1&lt;/m_strFormatTime&gt;&lt;/m_precDefaultMonth&gt;&lt;m_precDefaultWeek&gt;&lt;m_strFormatTime&gt;%4&lt;/m_strFormatTime&gt;&lt;/m_precDefaultWeek&gt;&lt;m_precDefaultDay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SDM template v01">
  <a:themeElements>
    <a:clrScheme name="SDM Custom 1">
      <a:dk1>
        <a:srgbClr val="000000"/>
      </a:dk1>
      <a:lt1>
        <a:srgbClr val="FFFFFF"/>
      </a:lt1>
      <a:dk2>
        <a:srgbClr val="A5A5A5"/>
      </a:dk2>
      <a:lt2>
        <a:srgbClr val="85EDFB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F0000"/>
      </a:accent5>
      <a:accent6>
        <a:srgbClr val="F6C5C5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.xml><?xml version="1.0" encoding="utf-8"?>
<a:theme xmlns:a="http://schemas.openxmlformats.org/drawingml/2006/main" name="6_SDM template v01">
  <a:themeElements>
    <a:clrScheme name="SDM Custom 1">
      <a:dk1>
        <a:srgbClr val="000000"/>
      </a:dk1>
      <a:lt1>
        <a:srgbClr val="FFFFFF"/>
      </a:lt1>
      <a:dk2>
        <a:srgbClr val="A5A5A5"/>
      </a:dk2>
      <a:lt2>
        <a:srgbClr val="85EDFB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F0000"/>
      </a:accent5>
      <a:accent6>
        <a:srgbClr val="F6C5C5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3.xml><?xml version="1.0" encoding="utf-8"?>
<a:theme xmlns:a="http://schemas.openxmlformats.org/drawingml/2006/main" name="22_SDM template v01">
  <a:themeElements>
    <a:clrScheme name="SDM Custom 1">
      <a:dk1>
        <a:srgbClr val="000000"/>
      </a:dk1>
      <a:lt1>
        <a:srgbClr val="FFFFFF"/>
      </a:lt1>
      <a:dk2>
        <a:srgbClr val="A5A5A5"/>
      </a:dk2>
      <a:lt2>
        <a:srgbClr val="85EDFB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F0000"/>
      </a:accent5>
      <a:accent6>
        <a:srgbClr val="F6C5C5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4.xml><?xml version="1.0" encoding="utf-8"?>
<a:theme xmlns:a="http://schemas.openxmlformats.org/drawingml/2006/main" name="23_SDM template v01">
  <a:themeElements>
    <a:clrScheme name="SDM Custom 1">
      <a:dk1>
        <a:srgbClr val="000000"/>
      </a:dk1>
      <a:lt1>
        <a:srgbClr val="FFFFFF"/>
      </a:lt1>
      <a:dk2>
        <a:srgbClr val="A5A5A5"/>
      </a:dk2>
      <a:lt2>
        <a:srgbClr val="85EDFB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F0000"/>
      </a:accent5>
      <a:accent6>
        <a:srgbClr val="F6C5C5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EC1AAE3439A2948A427D31EFFF1EE40" ma:contentTypeVersion="1" ma:contentTypeDescription="Create a new document." ma:contentTypeScope="" ma:versionID="186ffc874567321740a9c45ed08fe804">
  <xsd:schema xmlns:xsd="http://www.w3.org/2001/XMLSchema" xmlns:xs="http://www.w3.org/2001/XMLSchema" xmlns:p="http://schemas.microsoft.com/office/2006/metadata/properties" xmlns:ns2="6af7a594-6bb7-4c91-9d38-5bfab6eb14cf" targetNamespace="http://schemas.microsoft.com/office/2006/metadata/properties" ma:root="true" ma:fieldsID="06e4d38199424e58f8b7d1fb88ce10d5" ns2:_="">
    <xsd:import namespace="6af7a594-6bb7-4c91-9d38-5bfab6eb14cf"/>
    <xsd:element name="properties">
      <xsd:complexType>
        <xsd:sequence>
          <xsd:element name="documentManagement">
            <xsd:complexType>
              <xsd:all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f7a594-6bb7-4c91-9d38-5bfab6eb14cf" elementFormDefault="qualified">
    <xsd:import namespace="http://schemas.microsoft.com/office/2006/documentManagement/types"/>
    <xsd:import namespace="http://schemas.microsoft.com/office/infopath/2007/PartnerControls"/>
    <xsd:element name="Status" ma:index="8" nillable="true" ma:displayName="Status" ma:description="Review with Gerrie" ma:internalName="Status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6af7a594-6bb7-4c91-9d38-5bfab6eb14cf" xsi:nil="true"/>
  </documentManagement>
</p:properties>
</file>

<file path=customXml/itemProps1.xml><?xml version="1.0" encoding="utf-8"?>
<ds:datastoreItem xmlns:ds="http://schemas.openxmlformats.org/officeDocument/2006/customXml" ds:itemID="{3BA49A27-5E1B-4823-BCBD-2818AF152C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af7a594-6bb7-4c91-9d38-5bfab6eb14c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F37D885-6B1E-42AA-8851-AF09143811A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EE31056-53D9-4F88-A80B-FC00E2D3BD51}">
  <ds:schemaRefs>
    <ds:schemaRef ds:uri="http://schemas.microsoft.com/office/2006/documentManagement/types"/>
    <ds:schemaRef ds:uri="http://purl.org/dc/dcmitype/"/>
    <ds:schemaRef ds:uri="http://www.w3.org/XML/1998/namespace"/>
    <ds:schemaRef ds:uri="http://schemas.microsoft.com/office/infopath/2007/PartnerControls"/>
    <ds:schemaRef ds:uri="http://purl.org/dc/elements/1.1/"/>
    <ds:schemaRef ds:uri="http://purl.org/dc/terms/"/>
    <ds:schemaRef ds:uri="http://schemas.openxmlformats.org/package/2006/metadata/core-properties"/>
    <ds:schemaRef ds:uri="6af7a594-6bb7-4c91-9d38-5bfab6eb14cf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99</Words>
  <Application>Microsoft Office PowerPoint</Application>
  <PresentationFormat>On-screen Show (4:3)</PresentationFormat>
  <Paragraphs>29</Paragraphs>
  <Slides>3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5_SDM template v01</vt:lpstr>
      <vt:lpstr>6_SDM template v01</vt:lpstr>
      <vt:lpstr>22_SDM template v01</vt:lpstr>
      <vt:lpstr>23_SDM template v01</vt:lpstr>
      <vt:lpstr>think-cell Slide</vt:lpstr>
      <vt:lpstr>Use Case Maintenace Process</vt:lpstr>
      <vt:lpstr> Current Use Case Flow &amp; Structure</vt:lpstr>
      <vt:lpstr>  Descrip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2-07-27T17:27:48Z</dcterms:created>
  <dcterms:modified xsi:type="dcterms:W3CDTF">2016-01-06T06:10:52Z</dcterms:modified>
  <cp:version>FINAL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EC1AAE3439A2948A427D31EFFF1EE40</vt:lpwstr>
  </property>
</Properties>
</file>